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48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D1CA34-44B8-09CC-C278-DE2A9DE0AD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1D13AEAF-EAB3-377E-B5EF-072C95641D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13AEAF-EAB3-377E-B5EF-072C95641D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F805092-0133-BD8C-1DE5-23086B43E6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Yes/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4155633-DC70-D09C-B877-76440221F8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" name="Round Same Side Corner Rectangle 5">
            <a:extLst>
              <a:ext uri="{FF2B5EF4-FFF2-40B4-BE49-F238E27FC236}">
                <a16:creationId xmlns:a16="http://schemas.microsoft.com/office/drawing/2014/main" id="{C56854C4-77BE-B1B7-348F-2DFA88C5C9BE}"/>
              </a:ext>
            </a:extLst>
          </p:cNvPr>
          <p:cNvSpPr/>
          <p:nvPr/>
        </p:nvSpPr>
        <p:spPr>
          <a:xfrm rot="16200000">
            <a:off x="2015354" y="1844464"/>
            <a:ext cx="4698580" cy="3377288"/>
          </a:xfrm>
          <a:prstGeom prst="round2SameRect">
            <a:avLst/>
          </a:prstGeom>
          <a:solidFill>
            <a:schemeClr val="accent1"/>
          </a:solidFill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IN" sz="2400" b="1" kern="0" dirty="0">
              <a:solidFill>
                <a:sysClr val="window" lastClr="FFFFFF"/>
              </a:solidFill>
              <a:cs typeface="Arial"/>
            </a:endParaRPr>
          </a:p>
        </p:txBody>
      </p:sp>
      <p:sp>
        <p:nvSpPr>
          <p:cNvPr id="6" name="Round Same Side Corner Rectangle 6">
            <a:extLst>
              <a:ext uri="{FF2B5EF4-FFF2-40B4-BE49-F238E27FC236}">
                <a16:creationId xmlns:a16="http://schemas.microsoft.com/office/drawing/2014/main" id="{8939D4F4-C335-1BA6-24A2-A64DBDF6B3F8}"/>
              </a:ext>
            </a:extLst>
          </p:cNvPr>
          <p:cNvSpPr/>
          <p:nvPr/>
        </p:nvSpPr>
        <p:spPr>
          <a:xfrm rot="5400000">
            <a:off x="5478066" y="1844465"/>
            <a:ext cx="4698580" cy="3377288"/>
          </a:xfrm>
          <a:prstGeom prst="round2SameRect">
            <a:avLst/>
          </a:prstGeom>
          <a:solidFill>
            <a:schemeClr val="accent3"/>
          </a:solidFill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IN" sz="2400" b="1" kern="0" dirty="0">
              <a:solidFill>
                <a:sysClr val="window" lastClr="FFFFFF"/>
              </a:solidFill>
              <a:cs typeface="Arial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4D18962-25DD-4E2D-4976-B013EF137B73}"/>
              </a:ext>
            </a:extLst>
          </p:cNvPr>
          <p:cNvGrpSpPr/>
          <p:nvPr/>
        </p:nvGrpSpPr>
        <p:grpSpPr>
          <a:xfrm>
            <a:off x="5351605" y="1465361"/>
            <a:ext cx="1487623" cy="4040963"/>
            <a:chOff x="3008790" y="2990492"/>
            <a:chExt cx="429060" cy="1165495"/>
          </a:xfrm>
          <a:solidFill>
            <a:schemeClr val="accent4"/>
          </a:solidFill>
        </p:grpSpPr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2F3554FB-5102-B0B5-AEE4-A5C5A7B46A8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17164" y="2990492"/>
              <a:ext cx="221818" cy="221818"/>
            </a:xfrm>
            <a:custGeom>
              <a:avLst/>
              <a:gdLst>
                <a:gd name="T0" fmla="*/ 342 w 700"/>
                <a:gd name="T1" fmla="*/ 700 h 700"/>
                <a:gd name="T2" fmla="*/ 408 w 700"/>
                <a:gd name="T3" fmla="*/ 692 h 700"/>
                <a:gd name="T4" fmla="*/ 472 w 700"/>
                <a:gd name="T5" fmla="*/ 672 h 700"/>
                <a:gd name="T6" fmla="*/ 534 w 700"/>
                <a:gd name="T7" fmla="*/ 638 h 700"/>
                <a:gd name="T8" fmla="*/ 588 w 700"/>
                <a:gd name="T9" fmla="*/ 594 h 700"/>
                <a:gd name="T10" fmla="*/ 632 w 700"/>
                <a:gd name="T11" fmla="*/ 542 h 700"/>
                <a:gd name="T12" fmla="*/ 668 w 700"/>
                <a:gd name="T13" fmla="*/ 484 h 700"/>
                <a:gd name="T14" fmla="*/ 690 w 700"/>
                <a:gd name="T15" fmla="*/ 422 h 700"/>
                <a:gd name="T16" fmla="*/ 700 w 700"/>
                <a:gd name="T17" fmla="*/ 356 h 700"/>
                <a:gd name="T18" fmla="*/ 698 w 700"/>
                <a:gd name="T19" fmla="*/ 324 h 700"/>
                <a:gd name="T20" fmla="*/ 682 w 700"/>
                <a:gd name="T21" fmla="*/ 258 h 700"/>
                <a:gd name="T22" fmla="*/ 654 w 700"/>
                <a:gd name="T23" fmla="*/ 196 h 700"/>
                <a:gd name="T24" fmla="*/ 614 w 700"/>
                <a:gd name="T25" fmla="*/ 138 h 700"/>
                <a:gd name="T26" fmla="*/ 566 w 700"/>
                <a:gd name="T27" fmla="*/ 88 h 700"/>
                <a:gd name="T28" fmla="*/ 510 w 700"/>
                <a:gd name="T29" fmla="*/ 48 h 700"/>
                <a:gd name="T30" fmla="*/ 448 w 700"/>
                <a:gd name="T31" fmla="*/ 18 h 700"/>
                <a:gd name="T32" fmla="*/ 384 w 700"/>
                <a:gd name="T33" fmla="*/ 2 h 700"/>
                <a:gd name="T34" fmla="*/ 352 w 700"/>
                <a:gd name="T35" fmla="*/ 0 h 700"/>
                <a:gd name="T36" fmla="*/ 286 w 700"/>
                <a:gd name="T37" fmla="*/ 8 h 700"/>
                <a:gd name="T38" fmla="*/ 222 w 700"/>
                <a:gd name="T39" fmla="*/ 32 h 700"/>
                <a:gd name="T40" fmla="*/ 162 w 700"/>
                <a:gd name="T41" fmla="*/ 68 h 700"/>
                <a:gd name="T42" fmla="*/ 110 w 700"/>
                <a:gd name="T43" fmla="*/ 114 h 700"/>
                <a:gd name="T44" fmla="*/ 64 w 700"/>
                <a:gd name="T45" fmla="*/ 170 h 700"/>
                <a:gd name="T46" fmla="*/ 30 w 700"/>
                <a:gd name="T47" fmla="*/ 230 h 700"/>
                <a:gd name="T48" fmla="*/ 8 w 700"/>
                <a:gd name="T49" fmla="*/ 294 h 700"/>
                <a:gd name="T50" fmla="*/ 0 w 700"/>
                <a:gd name="T51" fmla="*/ 362 h 700"/>
                <a:gd name="T52" fmla="*/ 2 w 700"/>
                <a:gd name="T53" fmla="*/ 394 h 700"/>
                <a:gd name="T54" fmla="*/ 16 w 700"/>
                <a:gd name="T55" fmla="*/ 458 h 700"/>
                <a:gd name="T56" fmla="*/ 44 w 700"/>
                <a:gd name="T57" fmla="*/ 518 h 700"/>
                <a:gd name="T58" fmla="*/ 82 w 700"/>
                <a:gd name="T59" fmla="*/ 572 h 700"/>
                <a:gd name="T60" fmla="*/ 130 w 700"/>
                <a:gd name="T61" fmla="*/ 620 h 700"/>
                <a:gd name="T62" fmla="*/ 184 w 700"/>
                <a:gd name="T63" fmla="*/ 656 h 700"/>
                <a:gd name="T64" fmla="*/ 246 w 700"/>
                <a:gd name="T65" fmla="*/ 684 h 700"/>
                <a:gd name="T66" fmla="*/ 310 w 700"/>
                <a:gd name="T67" fmla="*/ 698 h 700"/>
                <a:gd name="T68" fmla="*/ 342 w 700"/>
                <a:gd name="T69" fmla="*/ 700 h 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00" h="700">
                  <a:moveTo>
                    <a:pt x="342" y="700"/>
                  </a:moveTo>
                  <a:lnTo>
                    <a:pt x="342" y="700"/>
                  </a:lnTo>
                  <a:lnTo>
                    <a:pt x="376" y="698"/>
                  </a:lnTo>
                  <a:lnTo>
                    <a:pt x="408" y="692"/>
                  </a:lnTo>
                  <a:lnTo>
                    <a:pt x="442" y="684"/>
                  </a:lnTo>
                  <a:lnTo>
                    <a:pt x="472" y="672"/>
                  </a:lnTo>
                  <a:lnTo>
                    <a:pt x="504" y="656"/>
                  </a:lnTo>
                  <a:lnTo>
                    <a:pt x="534" y="638"/>
                  </a:lnTo>
                  <a:lnTo>
                    <a:pt x="560" y="618"/>
                  </a:lnTo>
                  <a:lnTo>
                    <a:pt x="588" y="594"/>
                  </a:lnTo>
                  <a:lnTo>
                    <a:pt x="612" y="570"/>
                  </a:lnTo>
                  <a:lnTo>
                    <a:pt x="632" y="542"/>
                  </a:lnTo>
                  <a:lnTo>
                    <a:pt x="652" y="514"/>
                  </a:lnTo>
                  <a:lnTo>
                    <a:pt x="668" y="484"/>
                  </a:lnTo>
                  <a:lnTo>
                    <a:pt x="682" y="454"/>
                  </a:lnTo>
                  <a:lnTo>
                    <a:pt x="690" y="422"/>
                  </a:lnTo>
                  <a:lnTo>
                    <a:pt x="696" y="390"/>
                  </a:lnTo>
                  <a:lnTo>
                    <a:pt x="700" y="356"/>
                  </a:lnTo>
                  <a:lnTo>
                    <a:pt x="700" y="356"/>
                  </a:lnTo>
                  <a:lnTo>
                    <a:pt x="698" y="324"/>
                  </a:lnTo>
                  <a:lnTo>
                    <a:pt x="692" y="290"/>
                  </a:lnTo>
                  <a:lnTo>
                    <a:pt x="682" y="258"/>
                  </a:lnTo>
                  <a:lnTo>
                    <a:pt x="670" y="226"/>
                  </a:lnTo>
                  <a:lnTo>
                    <a:pt x="654" y="196"/>
                  </a:lnTo>
                  <a:lnTo>
                    <a:pt x="636" y="166"/>
                  </a:lnTo>
                  <a:lnTo>
                    <a:pt x="614" y="138"/>
                  </a:lnTo>
                  <a:lnTo>
                    <a:pt x="592" y="112"/>
                  </a:lnTo>
                  <a:lnTo>
                    <a:pt x="566" y="88"/>
                  </a:lnTo>
                  <a:lnTo>
                    <a:pt x="538" y="66"/>
                  </a:lnTo>
                  <a:lnTo>
                    <a:pt x="510" y="48"/>
                  </a:lnTo>
                  <a:lnTo>
                    <a:pt x="480" y="32"/>
                  </a:lnTo>
                  <a:lnTo>
                    <a:pt x="448" y="18"/>
                  </a:lnTo>
                  <a:lnTo>
                    <a:pt x="416" y="8"/>
                  </a:lnTo>
                  <a:lnTo>
                    <a:pt x="384" y="2"/>
                  </a:lnTo>
                  <a:lnTo>
                    <a:pt x="352" y="0"/>
                  </a:lnTo>
                  <a:lnTo>
                    <a:pt x="352" y="0"/>
                  </a:lnTo>
                  <a:lnTo>
                    <a:pt x="318" y="2"/>
                  </a:lnTo>
                  <a:lnTo>
                    <a:pt x="286" y="8"/>
                  </a:lnTo>
                  <a:lnTo>
                    <a:pt x="254" y="18"/>
                  </a:lnTo>
                  <a:lnTo>
                    <a:pt x="222" y="32"/>
                  </a:lnTo>
                  <a:lnTo>
                    <a:pt x="192" y="48"/>
                  </a:lnTo>
                  <a:lnTo>
                    <a:pt x="162" y="68"/>
                  </a:lnTo>
                  <a:lnTo>
                    <a:pt x="134" y="90"/>
                  </a:lnTo>
                  <a:lnTo>
                    <a:pt x="110" y="114"/>
                  </a:lnTo>
                  <a:lnTo>
                    <a:pt x="86" y="142"/>
                  </a:lnTo>
                  <a:lnTo>
                    <a:pt x="64" y="170"/>
                  </a:lnTo>
                  <a:lnTo>
                    <a:pt x="46" y="200"/>
                  </a:lnTo>
                  <a:lnTo>
                    <a:pt x="30" y="230"/>
                  </a:lnTo>
                  <a:lnTo>
                    <a:pt x="16" y="262"/>
                  </a:lnTo>
                  <a:lnTo>
                    <a:pt x="8" y="294"/>
                  </a:lnTo>
                  <a:lnTo>
                    <a:pt x="2" y="328"/>
                  </a:lnTo>
                  <a:lnTo>
                    <a:pt x="0" y="362"/>
                  </a:lnTo>
                  <a:lnTo>
                    <a:pt x="0" y="362"/>
                  </a:lnTo>
                  <a:lnTo>
                    <a:pt x="2" y="394"/>
                  </a:lnTo>
                  <a:lnTo>
                    <a:pt x="6" y="426"/>
                  </a:lnTo>
                  <a:lnTo>
                    <a:pt x="16" y="458"/>
                  </a:lnTo>
                  <a:lnTo>
                    <a:pt x="28" y="488"/>
                  </a:lnTo>
                  <a:lnTo>
                    <a:pt x="44" y="518"/>
                  </a:lnTo>
                  <a:lnTo>
                    <a:pt x="62" y="546"/>
                  </a:lnTo>
                  <a:lnTo>
                    <a:pt x="82" y="572"/>
                  </a:lnTo>
                  <a:lnTo>
                    <a:pt x="104" y="596"/>
                  </a:lnTo>
                  <a:lnTo>
                    <a:pt x="130" y="620"/>
                  </a:lnTo>
                  <a:lnTo>
                    <a:pt x="156" y="640"/>
                  </a:lnTo>
                  <a:lnTo>
                    <a:pt x="184" y="656"/>
                  </a:lnTo>
                  <a:lnTo>
                    <a:pt x="214" y="672"/>
                  </a:lnTo>
                  <a:lnTo>
                    <a:pt x="246" y="684"/>
                  </a:lnTo>
                  <a:lnTo>
                    <a:pt x="278" y="692"/>
                  </a:lnTo>
                  <a:lnTo>
                    <a:pt x="310" y="698"/>
                  </a:lnTo>
                  <a:lnTo>
                    <a:pt x="342" y="700"/>
                  </a:lnTo>
                  <a:lnTo>
                    <a:pt x="342" y="700"/>
                  </a:lnTo>
                  <a:close/>
                </a:path>
              </a:pathLst>
            </a:custGeom>
            <a:grpFill/>
            <a:ln>
              <a:noFill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  <a:scene3d>
              <a:camera prst="orthographicFront"/>
              <a:lightRig rig="threePt" dir="t"/>
            </a:scene3d>
            <a:sp3d>
              <a:bevelT prst="relaxedInset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11">
              <a:extLst>
                <a:ext uri="{FF2B5EF4-FFF2-40B4-BE49-F238E27FC236}">
                  <a16:creationId xmlns:a16="http://schemas.microsoft.com/office/drawing/2014/main" id="{AFF24639-22C0-72E0-9392-2E74866965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08790" y="3228154"/>
              <a:ext cx="429060" cy="927833"/>
            </a:xfrm>
            <a:custGeom>
              <a:avLst/>
              <a:gdLst>
                <a:gd name="T0" fmla="*/ 1350 w 1354"/>
                <a:gd name="T1" fmla="*/ 442 h 2928"/>
                <a:gd name="T2" fmla="*/ 1350 w 1354"/>
                <a:gd name="T3" fmla="*/ 178 h 2928"/>
                <a:gd name="T4" fmla="*/ 1320 w 1354"/>
                <a:gd name="T5" fmla="*/ 112 h 2928"/>
                <a:gd name="T6" fmla="*/ 1270 w 1354"/>
                <a:gd name="T7" fmla="*/ 50 h 2928"/>
                <a:gd name="T8" fmla="*/ 1210 w 1354"/>
                <a:gd name="T9" fmla="*/ 16 h 2928"/>
                <a:gd name="T10" fmla="*/ 1130 w 1354"/>
                <a:gd name="T11" fmla="*/ 2 h 2928"/>
                <a:gd name="T12" fmla="*/ 292 w 1354"/>
                <a:gd name="T13" fmla="*/ 0 h 2928"/>
                <a:gd name="T14" fmla="*/ 178 w 1354"/>
                <a:gd name="T15" fmla="*/ 6 h 2928"/>
                <a:gd name="T16" fmla="*/ 82 w 1354"/>
                <a:gd name="T17" fmla="*/ 54 h 2928"/>
                <a:gd name="T18" fmla="*/ 32 w 1354"/>
                <a:gd name="T19" fmla="*/ 118 h 2928"/>
                <a:gd name="T20" fmla="*/ 8 w 1354"/>
                <a:gd name="T21" fmla="*/ 182 h 2928"/>
                <a:gd name="T22" fmla="*/ 2 w 1354"/>
                <a:gd name="T23" fmla="*/ 446 h 2928"/>
                <a:gd name="T24" fmla="*/ 0 w 1354"/>
                <a:gd name="T25" fmla="*/ 1100 h 2928"/>
                <a:gd name="T26" fmla="*/ 12 w 1354"/>
                <a:gd name="T27" fmla="*/ 1242 h 2928"/>
                <a:gd name="T28" fmla="*/ 54 w 1354"/>
                <a:gd name="T29" fmla="*/ 1320 h 2928"/>
                <a:gd name="T30" fmla="*/ 92 w 1354"/>
                <a:gd name="T31" fmla="*/ 1340 h 2928"/>
                <a:gd name="T32" fmla="*/ 140 w 1354"/>
                <a:gd name="T33" fmla="*/ 1340 h 2928"/>
                <a:gd name="T34" fmla="*/ 206 w 1354"/>
                <a:gd name="T35" fmla="*/ 1316 h 2928"/>
                <a:gd name="T36" fmla="*/ 238 w 1354"/>
                <a:gd name="T37" fmla="*/ 1260 h 2928"/>
                <a:gd name="T38" fmla="*/ 248 w 1354"/>
                <a:gd name="T39" fmla="*/ 1106 h 2928"/>
                <a:gd name="T40" fmla="*/ 248 w 1354"/>
                <a:gd name="T41" fmla="*/ 660 h 2928"/>
                <a:gd name="T42" fmla="*/ 258 w 1354"/>
                <a:gd name="T43" fmla="*/ 590 h 2928"/>
                <a:gd name="T44" fmla="*/ 282 w 1354"/>
                <a:gd name="T45" fmla="*/ 590 h 2928"/>
                <a:gd name="T46" fmla="*/ 292 w 1354"/>
                <a:gd name="T47" fmla="*/ 648 h 2928"/>
                <a:gd name="T48" fmla="*/ 292 w 1354"/>
                <a:gd name="T49" fmla="*/ 2736 h 2928"/>
                <a:gd name="T50" fmla="*/ 306 w 1354"/>
                <a:gd name="T51" fmla="*/ 2818 h 2928"/>
                <a:gd name="T52" fmla="*/ 342 w 1354"/>
                <a:gd name="T53" fmla="*/ 2874 h 2928"/>
                <a:gd name="T54" fmla="*/ 406 w 1354"/>
                <a:gd name="T55" fmla="*/ 2910 h 2928"/>
                <a:gd name="T56" fmla="*/ 472 w 1354"/>
                <a:gd name="T57" fmla="*/ 2920 h 2928"/>
                <a:gd name="T58" fmla="*/ 556 w 1354"/>
                <a:gd name="T59" fmla="*/ 2906 h 2928"/>
                <a:gd name="T60" fmla="*/ 614 w 1354"/>
                <a:gd name="T61" fmla="*/ 2870 h 2928"/>
                <a:gd name="T62" fmla="*/ 648 w 1354"/>
                <a:gd name="T63" fmla="*/ 2816 h 2928"/>
                <a:gd name="T64" fmla="*/ 658 w 1354"/>
                <a:gd name="T65" fmla="*/ 2754 h 2928"/>
                <a:gd name="T66" fmla="*/ 660 w 1354"/>
                <a:gd name="T67" fmla="*/ 1770 h 2928"/>
                <a:gd name="T68" fmla="*/ 670 w 1354"/>
                <a:gd name="T69" fmla="*/ 1704 h 2928"/>
                <a:gd name="T70" fmla="*/ 690 w 1354"/>
                <a:gd name="T71" fmla="*/ 1698 h 2928"/>
                <a:gd name="T72" fmla="*/ 704 w 1354"/>
                <a:gd name="T73" fmla="*/ 1770 h 2928"/>
                <a:gd name="T74" fmla="*/ 704 w 1354"/>
                <a:gd name="T75" fmla="*/ 2754 h 2928"/>
                <a:gd name="T76" fmla="*/ 720 w 1354"/>
                <a:gd name="T77" fmla="*/ 2818 h 2928"/>
                <a:gd name="T78" fmla="*/ 762 w 1354"/>
                <a:gd name="T79" fmla="*/ 2874 h 2928"/>
                <a:gd name="T80" fmla="*/ 826 w 1354"/>
                <a:gd name="T81" fmla="*/ 2916 h 2928"/>
                <a:gd name="T82" fmla="*/ 894 w 1354"/>
                <a:gd name="T83" fmla="*/ 2928 h 2928"/>
                <a:gd name="T84" fmla="*/ 958 w 1354"/>
                <a:gd name="T85" fmla="*/ 2908 h 2928"/>
                <a:gd name="T86" fmla="*/ 1012 w 1354"/>
                <a:gd name="T87" fmla="*/ 2864 h 2928"/>
                <a:gd name="T88" fmla="*/ 1060 w 1354"/>
                <a:gd name="T89" fmla="*/ 2780 h 2928"/>
                <a:gd name="T90" fmla="*/ 1066 w 1354"/>
                <a:gd name="T91" fmla="*/ 722 h 2928"/>
                <a:gd name="T92" fmla="*/ 1068 w 1354"/>
                <a:gd name="T93" fmla="*/ 612 h 2928"/>
                <a:gd name="T94" fmla="*/ 1082 w 1354"/>
                <a:gd name="T95" fmla="*/ 584 h 2928"/>
                <a:gd name="T96" fmla="*/ 1100 w 1354"/>
                <a:gd name="T97" fmla="*/ 596 h 2928"/>
                <a:gd name="T98" fmla="*/ 1104 w 1354"/>
                <a:gd name="T99" fmla="*/ 692 h 2928"/>
                <a:gd name="T100" fmla="*/ 1108 w 1354"/>
                <a:gd name="T101" fmla="*/ 1144 h 2928"/>
                <a:gd name="T102" fmla="*/ 1126 w 1354"/>
                <a:gd name="T103" fmla="*/ 1248 h 2928"/>
                <a:gd name="T104" fmla="*/ 1160 w 1354"/>
                <a:gd name="T105" fmla="*/ 1304 h 2928"/>
                <a:gd name="T106" fmla="*/ 1212 w 1354"/>
                <a:gd name="T107" fmla="*/ 1324 h 2928"/>
                <a:gd name="T108" fmla="*/ 1252 w 1354"/>
                <a:gd name="T109" fmla="*/ 1322 h 2928"/>
                <a:gd name="T110" fmla="*/ 1290 w 1354"/>
                <a:gd name="T111" fmla="*/ 1302 h 2928"/>
                <a:gd name="T112" fmla="*/ 1332 w 1354"/>
                <a:gd name="T113" fmla="*/ 1222 h 2928"/>
                <a:gd name="T114" fmla="*/ 1350 w 1354"/>
                <a:gd name="T115" fmla="*/ 1080 h 2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54" h="2928">
                  <a:moveTo>
                    <a:pt x="1350" y="972"/>
                  </a:moveTo>
                  <a:lnTo>
                    <a:pt x="1350" y="972"/>
                  </a:lnTo>
                  <a:lnTo>
                    <a:pt x="1350" y="442"/>
                  </a:lnTo>
                  <a:lnTo>
                    <a:pt x="1350" y="442"/>
                  </a:lnTo>
                  <a:lnTo>
                    <a:pt x="1352" y="344"/>
                  </a:lnTo>
                  <a:lnTo>
                    <a:pt x="1354" y="286"/>
                  </a:lnTo>
                  <a:lnTo>
                    <a:pt x="1354" y="240"/>
                  </a:lnTo>
                  <a:lnTo>
                    <a:pt x="1350" y="178"/>
                  </a:lnTo>
                  <a:lnTo>
                    <a:pt x="1350" y="178"/>
                  </a:lnTo>
                  <a:lnTo>
                    <a:pt x="1342" y="154"/>
                  </a:lnTo>
                  <a:lnTo>
                    <a:pt x="1332" y="132"/>
                  </a:lnTo>
                  <a:lnTo>
                    <a:pt x="1320" y="112"/>
                  </a:lnTo>
                  <a:lnTo>
                    <a:pt x="1310" y="94"/>
                  </a:lnTo>
                  <a:lnTo>
                    <a:pt x="1296" y="78"/>
                  </a:lnTo>
                  <a:lnTo>
                    <a:pt x="1284" y="64"/>
                  </a:lnTo>
                  <a:lnTo>
                    <a:pt x="1270" y="50"/>
                  </a:lnTo>
                  <a:lnTo>
                    <a:pt x="1256" y="40"/>
                  </a:lnTo>
                  <a:lnTo>
                    <a:pt x="1242" y="30"/>
                  </a:lnTo>
                  <a:lnTo>
                    <a:pt x="1226" y="22"/>
                  </a:lnTo>
                  <a:lnTo>
                    <a:pt x="1210" y="16"/>
                  </a:lnTo>
                  <a:lnTo>
                    <a:pt x="1194" y="10"/>
                  </a:lnTo>
                  <a:lnTo>
                    <a:pt x="1178" y="6"/>
                  </a:lnTo>
                  <a:lnTo>
                    <a:pt x="1162" y="4"/>
                  </a:lnTo>
                  <a:lnTo>
                    <a:pt x="1130" y="2"/>
                  </a:lnTo>
                  <a:lnTo>
                    <a:pt x="1130" y="2"/>
                  </a:lnTo>
                  <a:lnTo>
                    <a:pt x="732" y="2"/>
                  </a:lnTo>
                  <a:lnTo>
                    <a:pt x="732" y="2"/>
                  </a:lnTo>
                  <a:lnTo>
                    <a:pt x="292" y="0"/>
                  </a:lnTo>
                  <a:lnTo>
                    <a:pt x="292" y="0"/>
                  </a:lnTo>
                  <a:lnTo>
                    <a:pt x="232" y="0"/>
                  </a:lnTo>
                  <a:lnTo>
                    <a:pt x="204" y="2"/>
                  </a:lnTo>
                  <a:lnTo>
                    <a:pt x="178" y="6"/>
                  </a:lnTo>
                  <a:lnTo>
                    <a:pt x="154" y="12"/>
                  </a:lnTo>
                  <a:lnTo>
                    <a:pt x="130" y="20"/>
                  </a:lnTo>
                  <a:lnTo>
                    <a:pt x="106" y="34"/>
                  </a:lnTo>
                  <a:lnTo>
                    <a:pt x="82" y="54"/>
                  </a:lnTo>
                  <a:lnTo>
                    <a:pt x="82" y="54"/>
                  </a:lnTo>
                  <a:lnTo>
                    <a:pt x="52" y="88"/>
                  </a:lnTo>
                  <a:lnTo>
                    <a:pt x="40" y="104"/>
                  </a:lnTo>
                  <a:lnTo>
                    <a:pt x="32" y="118"/>
                  </a:lnTo>
                  <a:lnTo>
                    <a:pt x="24" y="134"/>
                  </a:lnTo>
                  <a:lnTo>
                    <a:pt x="16" y="148"/>
                  </a:lnTo>
                  <a:lnTo>
                    <a:pt x="12" y="164"/>
                  </a:lnTo>
                  <a:lnTo>
                    <a:pt x="8" y="182"/>
                  </a:lnTo>
                  <a:lnTo>
                    <a:pt x="4" y="202"/>
                  </a:lnTo>
                  <a:lnTo>
                    <a:pt x="2" y="226"/>
                  </a:lnTo>
                  <a:lnTo>
                    <a:pt x="2" y="280"/>
                  </a:lnTo>
                  <a:lnTo>
                    <a:pt x="2" y="446"/>
                  </a:lnTo>
                  <a:lnTo>
                    <a:pt x="2" y="446"/>
                  </a:lnTo>
                  <a:lnTo>
                    <a:pt x="2" y="986"/>
                  </a:lnTo>
                  <a:lnTo>
                    <a:pt x="2" y="986"/>
                  </a:lnTo>
                  <a:lnTo>
                    <a:pt x="0" y="1100"/>
                  </a:lnTo>
                  <a:lnTo>
                    <a:pt x="2" y="1160"/>
                  </a:lnTo>
                  <a:lnTo>
                    <a:pt x="4" y="1188"/>
                  </a:lnTo>
                  <a:lnTo>
                    <a:pt x="6" y="1216"/>
                  </a:lnTo>
                  <a:lnTo>
                    <a:pt x="12" y="1242"/>
                  </a:lnTo>
                  <a:lnTo>
                    <a:pt x="20" y="1266"/>
                  </a:lnTo>
                  <a:lnTo>
                    <a:pt x="28" y="1288"/>
                  </a:lnTo>
                  <a:lnTo>
                    <a:pt x="40" y="1306"/>
                  </a:lnTo>
                  <a:lnTo>
                    <a:pt x="54" y="1320"/>
                  </a:lnTo>
                  <a:lnTo>
                    <a:pt x="62" y="1326"/>
                  </a:lnTo>
                  <a:lnTo>
                    <a:pt x="72" y="1332"/>
                  </a:lnTo>
                  <a:lnTo>
                    <a:pt x="82" y="1336"/>
                  </a:lnTo>
                  <a:lnTo>
                    <a:pt x="92" y="1340"/>
                  </a:lnTo>
                  <a:lnTo>
                    <a:pt x="104" y="1342"/>
                  </a:lnTo>
                  <a:lnTo>
                    <a:pt x="118" y="1342"/>
                  </a:lnTo>
                  <a:lnTo>
                    <a:pt x="118" y="1342"/>
                  </a:lnTo>
                  <a:lnTo>
                    <a:pt x="140" y="1340"/>
                  </a:lnTo>
                  <a:lnTo>
                    <a:pt x="160" y="1338"/>
                  </a:lnTo>
                  <a:lnTo>
                    <a:pt x="178" y="1332"/>
                  </a:lnTo>
                  <a:lnTo>
                    <a:pt x="194" y="1324"/>
                  </a:lnTo>
                  <a:lnTo>
                    <a:pt x="206" y="1316"/>
                  </a:lnTo>
                  <a:lnTo>
                    <a:pt x="216" y="1304"/>
                  </a:lnTo>
                  <a:lnTo>
                    <a:pt x="226" y="1292"/>
                  </a:lnTo>
                  <a:lnTo>
                    <a:pt x="232" y="1276"/>
                  </a:lnTo>
                  <a:lnTo>
                    <a:pt x="238" y="1260"/>
                  </a:lnTo>
                  <a:lnTo>
                    <a:pt x="242" y="1242"/>
                  </a:lnTo>
                  <a:lnTo>
                    <a:pt x="246" y="1202"/>
                  </a:lnTo>
                  <a:lnTo>
                    <a:pt x="248" y="1156"/>
                  </a:lnTo>
                  <a:lnTo>
                    <a:pt x="248" y="1106"/>
                  </a:lnTo>
                  <a:lnTo>
                    <a:pt x="248" y="1106"/>
                  </a:lnTo>
                  <a:lnTo>
                    <a:pt x="248" y="738"/>
                  </a:lnTo>
                  <a:lnTo>
                    <a:pt x="248" y="738"/>
                  </a:lnTo>
                  <a:lnTo>
                    <a:pt x="248" y="660"/>
                  </a:lnTo>
                  <a:lnTo>
                    <a:pt x="248" y="616"/>
                  </a:lnTo>
                  <a:lnTo>
                    <a:pt x="250" y="602"/>
                  </a:lnTo>
                  <a:lnTo>
                    <a:pt x="252" y="594"/>
                  </a:lnTo>
                  <a:lnTo>
                    <a:pt x="258" y="590"/>
                  </a:lnTo>
                  <a:lnTo>
                    <a:pt x="266" y="588"/>
                  </a:lnTo>
                  <a:lnTo>
                    <a:pt x="266" y="588"/>
                  </a:lnTo>
                  <a:lnTo>
                    <a:pt x="274" y="588"/>
                  </a:lnTo>
                  <a:lnTo>
                    <a:pt x="282" y="590"/>
                  </a:lnTo>
                  <a:lnTo>
                    <a:pt x="286" y="596"/>
                  </a:lnTo>
                  <a:lnTo>
                    <a:pt x="290" y="606"/>
                  </a:lnTo>
                  <a:lnTo>
                    <a:pt x="290" y="622"/>
                  </a:lnTo>
                  <a:lnTo>
                    <a:pt x="292" y="648"/>
                  </a:lnTo>
                  <a:lnTo>
                    <a:pt x="292" y="726"/>
                  </a:lnTo>
                  <a:lnTo>
                    <a:pt x="292" y="726"/>
                  </a:lnTo>
                  <a:lnTo>
                    <a:pt x="292" y="2736"/>
                  </a:lnTo>
                  <a:lnTo>
                    <a:pt x="292" y="2736"/>
                  </a:lnTo>
                  <a:lnTo>
                    <a:pt x="294" y="2770"/>
                  </a:lnTo>
                  <a:lnTo>
                    <a:pt x="296" y="2786"/>
                  </a:lnTo>
                  <a:lnTo>
                    <a:pt x="300" y="2802"/>
                  </a:lnTo>
                  <a:lnTo>
                    <a:pt x="306" y="2818"/>
                  </a:lnTo>
                  <a:lnTo>
                    <a:pt x="314" y="2832"/>
                  </a:lnTo>
                  <a:lnTo>
                    <a:pt x="322" y="2848"/>
                  </a:lnTo>
                  <a:lnTo>
                    <a:pt x="332" y="2860"/>
                  </a:lnTo>
                  <a:lnTo>
                    <a:pt x="342" y="2874"/>
                  </a:lnTo>
                  <a:lnTo>
                    <a:pt x="356" y="2884"/>
                  </a:lnTo>
                  <a:lnTo>
                    <a:pt x="370" y="2894"/>
                  </a:lnTo>
                  <a:lnTo>
                    <a:pt x="386" y="2902"/>
                  </a:lnTo>
                  <a:lnTo>
                    <a:pt x="406" y="2910"/>
                  </a:lnTo>
                  <a:lnTo>
                    <a:pt x="426" y="2914"/>
                  </a:lnTo>
                  <a:lnTo>
                    <a:pt x="448" y="2918"/>
                  </a:lnTo>
                  <a:lnTo>
                    <a:pt x="472" y="2920"/>
                  </a:lnTo>
                  <a:lnTo>
                    <a:pt x="472" y="2920"/>
                  </a:lnTo>
                  <a:lnTo>
                    <a:pt x="496" y="2918"/>
                  </a:lnTo>
                  <a:lnTo>
                    <a:pt x="518" y="2916"/>
                  </a:lnTo>
                  <a:lnTo>
                    <a:pt x="538" y="2912"/>
                  </a:lnTo>
                  <a:lnTo>
                    <a:pt x="556" y="2906"/>
                  </a:lnTo>
                  <a:lnTo>
                    <a:pt x="574" y="2898"/>
                  </a:lnTo>
                  <a:lnTo>
                    <a:pt x="588" y="2890"/>
                  </a:lnTo>
                  <a:lnTo>
                    <a:pt x="602" y="2880"/>
                  </a:lnTo>
                  <a:lnTo>
                    <a:pt x="614" y="2870"/>
                  </a:lnTo>
                  <a:lnTo>
                    <a:pt x="626" y="2858"/>
                  </a:lnTo>
                  <a:lnTo>
                    <a:pt x="634" y="2844"/>
                  </a:lnTo>
                  <a:lnTo>
                    <a:pt x="642" y="2830"/>
                  </a:lnTo>
                  <a:lnTo>
                    <a:pt x="648" y="2816"/>
                  </a:lnTo>
                  <a:lnTo>
                    <a:pt x="652" y="2802"/>
                  </a:lnTo>
                  <a:lnTo>
                    <a:pt x="656" y="2786"/>
                  </a:lnTo>
                  <a:lnTo>
                    <a:pt x="658" y="2770"/>
                  </a:lnTo>
                  <a:lnTo>
                    <a:pt x="658" y="2754"/>
                  </a:lnTo>
                  <a:lnTo>
                    <a:pt x="658" y="2754"/>
                  </a:lnTo>
                  <a:lnTo>
                    <a:pt x="658" y="1828"/>
                  </a:lnTo>
                  <a:lnTo>
                    <a:pt x="658" y="1828"/>
                  </a:lnTo>
                  <a:lnTo>
                    <a:pt x="660" y="1770"/>
                  </a:lnTo>
                  <a:lnTo>
                    <a:pt x="660" y="1746"/>
                  </a:lnTo>
                  <a:lnTo>
                    <a:pt x="664" y="1728"/>
                  </a:lnTo>
                  <a:lnTo>
                    <a:pt x="666" y="1714"/>
                  </a:lnTo>
                  <a:lnTo>
                    <a:pt x="670" y="1704"/>
                  </a:lnTo>
                  <a:lnTo>
                    <a:pt x="676" y="1698"/>
                  </a:lnTo>
                  <a:lnTo>
                    <a:pt x="684" y="1696"/>
                  </a:lnTo>
                  <a:lnTo>
                    <a:pt x="684" y="1696"/>
                  </a:lnTo>
                  <a:lnTo>
                    <a:pt x="690" y="1698"/>
                  </a:lnTo>
                  <a:lnTo>
                    <a:pt x="696" y="1704"/>
                  </a:lnTo>
                  <a:lnTo>
                    <a:pt x="700" y="1714"/>
                  </a:lnTo>
                  <a:lnTo>
                    <a:pt x="702" y="1728"/>
                  </a:lnTo>
                  <a:lnTo>
                    <a:pt x="704" y="1770"/>
                  </a:lnTo>
                  <a:lnTo>
                    <a:pt x="704" y="1828"/>
                  </a:lnTo>
                  <a:lnTo>
                    <a:pt x="704" y="1828"/>
                  </a:lnTo>
                  <a:lnTo>
                    <a:pt x="704" y="2754"/>
                  </a:lnTo>
                  <a:lnTo>
                    <a:pt x="704" y="2754"/>
                  </a:lnTo>
                  <a:lnTo>
                    <a:pt x="704" y="2764"/>
                  </a:lnTo>
                  <a:lnTo>
                    <a:pt x="706" y="2776"/>
                  </a:lnTo>
                  <a:lnTo>
                    <a:pt x="714" y="2804"/>
                  </a:lnTo>
                  <a:lnTo>
                    <a:pt x="720" y="2818"/>
                  </a:lnTo>
                  <a:lnTo>
                    <a:pt x="728" y="2832"/>
                  </a:lnTo>
                  <a:lnTo>
                    <a:pt x="738" y="2846"/>
                  </a:lnTo>
                  <a:lnTo>
                    <a:pt x="748" y="2860"/>
                  </a:lnTo>
                  <a:lnTo>
                    <a:pt x="762" y="2874"/>
                  </a:lnTo>
                  <a:lnTo>
                    <a:pt x="776" y="2886"/>
                  </a:lnTo>
                  <a:lnTo>
                    <a:pt x="790" y="2898"/>
                  </a:lnTo>
                  <a:lnTo>
                    <a:pt x="808" y="2908"/>
                  </a:lnTo>
                  <a:lnTo>
                    <a:pt x="826" y="2916"/>
                  </a:lnTo>
                  <a:lnTo>
                    <a:pt x="848" y="2922"/>
                  </a:lnTo>
                  <a:lnTo>
                    <a:pt x="870" y="2926"/>
                  </a:lnTo>
                  <a:lnTo>
                    <a:pt x="894" y="2928"/>
                  </a:lnTo>
                  <a:lnTo>
                    <a:pt x="894" y="2928"/>
                  </a:lnTo>
                  <a:lnTo>
                    <a:pt x="910" y="2926"/>
                  </a:lnTo>
                  <a:lnTo>
                    <a:pt x="926" y="2922"/>
                  </a:lnTo>
                  <a:lnTo>
                    <a:pt x="942" y="2916"/>
                  </a:lnTo>
                  <a:lnTo>
                    <a:pt x="958" y="2908"/>
                  </a:lnTo>
                  <a:lnTo>
                    <a:pt x="972" y="2900"/>
                  </a:lnTo>
                  <a:lnTo>
                    <a:pt x="986" y="2888"/>
                  </a:lnTo>
                  <a:lnTo>
                    <a:pt x="1000" y="2876"/>
                  </a:lnTo>
                  <a:lnTo>
                    <a:pt x="1012" y="2864"/>
                  </a:lnTo>
                  <a:lnTo>
                    <a:pt x="1032" y="2836"/>
                  </a:lnTo>
                  <a:lnTo>
                    <a:pt x="1048" y="2806"/>
                  </a:lnTo>
                  <a:lnTo>
                    <a:pt x="1054" y="2792"/>
                  </a:lnTo>
                  <a:lnTo>
                    <a:pt x="1060" y="2780"/>
                  </a:lnTo>
                  <a:lnTo>
                    <a:pt x="1062" y="2766"/>
                  </a:lnTo>
                  <a:lnTo>
                    <a:pt x="1064" y="2756"/>
                  </a:lnTo>
                  <a:lnTo>
                    <a:pt x="1064" y="2756"/>
                  </a:lnTo>
                  <a:lnTo>
                    <a:pt x="1066" y="722"/>
                  </a:lnTo>
                  <a:lnTo>
                    <a:pt x="1066" y="722"/>
                  </a:lnTo>
                  <a:lnTo>
                    <a:pt x="1064" y="674"/>
                  </a:lnTo>
                  <a:lnTo>
                    <a:pt x="1066" y="630"/>
                  </a:lnTo>
                  <a:lnTo>
                    <a:pt x="1068" y="612"/>
                  </a:lnTo>
                  <a:lnTo>
                    <a:pt x="1070" y="598"/>
                  </a:lnTo>
                  <a:lnTo>
                    <a:pt x="1076" y="588"/>
                  </a:lnTo>
                  <a:lnTo>
                    <a:pt x="1078" y="586"/>
                  </a:lnTo>
                  <a:lnTo>
                    <a:pt x="1082" y="584"/>
                  </a:lnTo>
                  <a:lnTo>
                    <a:pt x="1082" y="584"/>
                  </a:lnTo>
                  <a:lnTo>
                    <a:pt x="1090" y="586"/>
                  </a:lnTo>
                  <a:lnTo>
                    <a:pt x="1096" y="590"/>
                  </a:lnTo>
                  <a:lnTo>
                    <a:pt x="1100" y="596"/>
                  </a:lnTo>
                  <a:lnTo>
                    <a:pt x="1102" y="606"/>
                  </a:lnTo>
                  <a:lnTo>
                    <a:pt x="1104" y="638"/>
                  </a:lnTo>
                  <a:lnTo>
                    <a:pt x="1104" y="692"/>
                  </a:lnTo>
                  <a:lnTo>
                    <a:pt x="1104" y="692"/>
                  </a:lnTo>
                  <a:lnTo>
                    <a:pt x="1104" y="1032"/>
                  </a:lnTo>
                  <a:lnTo>
                    <a:pt x="1104" y="1032"/>
                  </a:lnTo>
                  <a:lnTo>
                    <a:pt x="1106" y="1110"/>
                  </a:lnTo>
                  <a:lnTo>
                    <a:pt x="1108" y="1144"/>
                  </a:lnTo>
                  <a:lnTo>
                    <a:pt x="1112" y="1176"/>
                  </a:lnTo>
                  <a:lnTo>
                    <a:pt x="1116" y="1202"/>
                  </a:lnTo>
                  <a:lnTo>
                    <a:pt x="1120" y="1226"/>
                  </a:lnTo>
                  <a:lnTo>
                    <a:pt x="1126" y="1248"/>
                  </a:lnTo>
                  <a:lnTo>
                    <a:pt x="1134" y="1266"/>
                  </a:lnTo>
                  <a:lnTo>
                    <a:pt x="1142" y="1280"/>
                  </a:lnTo>
                  <a:lnTo>
                    <a:pt x="1150" y="1294"/>
                  </a:lnTo>
                  <a:lnTo>
                    <a:pt x="1160" y="1304"/>
                  </a:lnTo>
                  <a:lnTo>
                    <a:pt x="1172" y="1312"/>
                  </a:lnTo>
                  <a:lnTo>
                    <a:pt x="1184" y="1318"/>
                  </a:lnTo>
                  <a:lnTo>
                    <a:pt x="1198" y="1322"/>
                  </a:lnTo>
                  <a:lnTo>
                    <a:pt x="1212" y="1324"/>
                  </a:lnTo>
                  <a:lnTo>
                    <a:pt x="1228" y="1324"/>
                  </a:lnTo>
                  <a:lnTo>
                    <a:pt x="1228" y="1324"/>
                  </a:lnTo>
                  <a:lnTo>
                    <a:pt x="1240" y="1324"/>
                  </a:lnTo>
                  <a:lnTo>
                    <a:pt x="1252" y="1322"/>
                  </a:lnTo>
                  <a:lnTo>
                    <a:pt x="1262" y="1318"/>
                  </a:lnTo>
                  <a:lnTo>
                    <a:pt x="1272" y="1314"/>
                  </a:lnTo>
                  <a:lnTo>
                    <a:pt x="1280" y="1310"/>
                  </a:lnTo>
                  <a:lnTo>
                    <a:pt x="1290" y="1302"/>
                  </a:lnTo>
                  <a:lnTo>
                    <a:pt x="1304" y="1288"/>
                  </a:lnTo>
                  <a:lnTo>
                    <a:pt x="1316" y="1268"/>
                  </a:lnTo>
                  <a:lnTo>
                    <a:pt x="1326" y="1246"/>
                  </a:lnTo>
                  <a:lnTo>
                    <a:pt x="1332" y="1222"/>
                  </a:lnTo>
                  <a:lnTo>
                    <a:pt x="1338" y="1196"/>
                  </a:lnTo>
                  <a:lnTo>
                    <a:pt x="1344" y="1168"/>
                  </a:lnTo>
                  <a:lnTo>
                    <a:pt x="1346" y="1138"/>
                  </a:lnTo>
                  <a:lnTo>
                    <a:pt x="1350" y="1080"/>
                  </a:lnTo>
                  <a:lnTo>
                    <a:pt x="1350" y="1024"/>
                  </a:lnTo>
                  <a:lnTo>
                    <a:pt x="1350" y="972"/>
                  </a:lnTo>
                  <a:lnTo>
                    <a:pt x="1350" y="972"/>
                  </a:lnTo>
                  <a:close/>
                </a:path>
              </a:pathLst>
            </a:custGeom>
            <a:grpFill/>
            <a:ln>
              <a:noFill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  <a:scene3d>
              <a:camera prst="orthographicFront"/>
              <a:lightRig rig="threePt" dir="t"/>
            </a:scene3d>
            <a:sp3d>
              <a:bevelT prst="relaxedInset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CB2AAE00-D9A2-794E-D8D2-81966DBB052C}"/>
              </a:ext>
            </a:extLst>
          </p:cNvPr>
          <p:cNvSpPr txBox="1"/>
          <p:nvPr/>
        </p:nvSpPr>
        <p:spPr>
          <a:xfrm>
            <a:off x="3654563" y="1399870"/>
            <a:ext cx="1491017" cy="5474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  <a:cs typeface="Arial" pitchFamily="34" charset="0"/>
              </a:rPr>
              <a:t>Y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93C0F56-40CA-5425-E662-D7B6D2BED4EB}"/>
              </a:ext>
            </a:extLst>
          </p:cNvPr>
          <p:cNvSpPr txBox="1"/>
          <p:nvPr/>
        </p:nvSpPr>
        <p:spPr>
          <a:xfrm>
            <a:off x="7037543" y="1399870"/>
            <a:ext cx="1491017" cy="5474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  <a:cs typeface="Arial" pitchFamily="34" charset="0"/>
              </a:rPr>
              <a:t>NO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097DC21-EED9-C246-DFDE-150496DECC8D}"/>
              </a:ext>
            </a:extLst>
          </p:cNvPr>
          <p:cNvSpPr txBox="1"/>
          <p:nvPr/>
        </p:nvSpPr>
        <p:spPr>
          <a:xfrm>
            <a:off x="2841160" y="2106446"/>
            <a:ext cx="2505911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100" kern="0" dirty="0">
                <a:solidFill>
                  <a:schemeClr val="bg1"/>
                </a:solidFill>
                <a:cs typeface="Arial"/>
              </a:rPr>
              <a:t>This is a sample text. You simply add your own text and description here. This text is fully editable. </a:t>
            </a:r>
          </a:p>
          <a:p>
            <a:pPr>
              <a:defRPr/>
            </a:pPr>
            <a:r>
              <a:rPr lang="en-US" sz="1100" kern="0" dirty="0">
                <a:solidFill>
                  <a:schemeClr val="bg1"/>
                </a:solidFill>
                <a:cs typeface="Arial"/>
              </a:rPr>
              <a:t>This is a sample text. You simply add your own text and description here. This text is fully editable. </a:t>
            </a:r>
            <a:endParaRPr lang="en-US" sz="1100" kern="0" dirty="0">
              <a:solidFill>
                <a:schemeClr val="bg1"/>
              </a:solidFill>
            </a:endParaRPr>
          </a:p>
          <a:p>
            <a:pPr>
              <a:defRPr/>
            </a:pPr>
            <a:endParaRPr lang="en-US" sz="1100" kern="0" dirty="0">
              <a:solidFill>
                <a:schemeClr val="bg1"/>
              </a:solidFill>
              <a:cs typeface="Arial"/>
            </a:endParaRPr>
          </a:p>
          <a:p>
            <a:pPr>
              <a:defRPr/>
            </a:pPr>
            <a:r>
              <a:rPr lang="en-US" sz="1100" kern="0" dirty="0">
                <a:solidFill>
                  <a:schemeClr val="bg1"/>
                </a:solidFill>
                <a:cs typeface="Arial"/>
              </a:rPr>
              <a:t>This is a sample text. You simply add your own text and description here. This text is fully editable. </a:t>
            </a:r>
            <a:endParaRPr lang="en-US" sz="1100" kern="0" dirty="0">
              <a:solidFill>
                <a:schemeClr val="bg1"/>
              </a:solidFill>
            </a:endParaRPr>
          </a:p>
          <a:p>
            <a:pPr>
              <a:defRPr/>
            </a:pPr>
            <a:endParaRPr lang="en-US" sz="1100" kern="0" dirty="0">
              <a:solidFill>
                <a:schemeClr val="bg1"/>
              </a:solidFill>
              <a:cs typeface="Arial"/>
            </a:endParaRPr>
          </a:p>
          <a:p>
            <a:pPr>
              <a:defRPr/>
            </a:pPr>
            <a:endParaRPr lang="en-US" sz="1100" kern="0" dirty="0">
              <a:solidFill>
                <a:schemeClr val="bg1"/>
              </a:solidFill>
              <a:cs typeface="Arial"/>
            </a:endParaRPr>
          </a:p>
          <a:p>
            <a:pPr>
              <a:defRPr/>
            </a:pPr>
            <a:r>
              <a:rPr lang="en-US" sz="1100" kern="0" dirty="0">
                <a:solidFill>
                  <a:schemeClr val="bg1"/>
                </a:solidFill>
                <a:cs typeface="Arial"/>
              </a:rPr>
              <a:t>This is a sample text. You simply add your own text and description here. This text is fully editable. </a:t>
            </a:r>
            <a:endParaRPr lang="en-US" sz="1100" kern="0" dirty="0">
              <a:solidFill>
                <a:schemeClr val="bg1"/>
              </a:solidFill>
            </a:endParaRPr>
          </a:p>
          <a:p>
            <a:pPr>
              <a:defRPr/>
            </a:pPr>
            <a:endParaRPr lang="en-US" sz="1100" kern="0" dirty="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30FA1EA-91F3-98E0-5767-D600B36BCCCA}"/>
              </a:ext>
            </a:extLst>
          </p:cNvPr>
          <p:cNvSpPr txBox="1"/>
          <p:nvPr/>
        </p:nvSpPr>
        <p:spPr>
          <a:xfrm>
            <a:off x="6816446" y="2095056"/>
            <a:ext cx="2505911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100" kern="0" dirty="0">
                <a:solidFill>
                  <a:schemeClr val="bg1"/>
                </a:solidFill>
                <a:cs typeface="Arial"/>
              </a:rPr>
              <a:t>This is a sample text. You simply add your own text and description here. This text is fully editable. </a:t>
            </a:r>
          </a:p>
          <a:p>
            <a:pPr>
              <a:defRPr/>
            </a:pPr>
            <a:r>
              <a:rPr lang="en-US" sz="1100" kern="0" dirty="0">
                <a:solidFill>
                  <a:schemeClr val="bg1"/>
                </a:solidFill>
                <a:cs typeface="Arial"/>
              </a:rPr>
              <a:t>This is a sample text. You simply add your own text and description here. This text is fully editable. </a:t>
            </a:r>
            <a:endParaRPr lang="en-US" sz="1100" kern="0" dirty="0">
              <a:solidFill>
                <a:schemeClr val="bg1"/>
              </a:solidFill>
            </a:endParaRPr>
          </a:p>
          <a:p>
            <a:pPr>
              <a:defRPr/>
            </a:pPr>
            <a:endParaRPr lang="en-US" sz="1100" kern="0" dirty="0">
              <a:solidFill>
                <a:schemeClr val="bg1"/>
              </a:solidFill>
              <a:cs typeface="Arial"/>
            </a:endParaRPr>
          </a:p>
          <a:p>
            <a:pPr>
              <a:defRPr/>
            </a:pPr>
            <a:r>
              <a:rPr lang="en-US" sz="1100" kern="0" dirty="0">
                <a:solidFill>
                  <a:schemeClr val="bg1"/>
                </a:solidFill>
                <a:cs typeface="Arial"/>
              </a:rPr>
              <a:t>This is a sample text. You simply add your own text and description here. This text is fully editable. </a:t>
            </a:r>
            <a:endParaRPr lang="en-US" sz="1100" kern="0" dirty="0">
              <a:solidFill>
                <a:schemeClr val="bg1"/>
              </a:solidFill>
            </a:endParaRPr>
          </a:p>
          <a:p>
            <a:pPr>
              <a:defRPr/>
            </a:pPr>
            <a:endParaRPr lang="en-US" sz="1100" kern="0" dirty="0">
              <a:solidFill>
                <a:schemeClr val="bg1"/>
              </a:solidFill>
              <a:cs typeface="Arial"/>
            </a:endParaRPr>
          </a:p>
          <a:p>
            <a:pPr>
              <a:defRPr/>
            </a:pPr>
            <a:endParaRPr lang="en-US" sz="1100" kern="0" dirty="0">
              <a:solidFill>
                <a:schemeClr val="bg1"/>
              </a:solidFill>
              <a:cs typeface="Arial"/>
            </a:endParaRPr>
          </a:p>
          <a:p>
            <a:pPr>
              <a:defRPr/>
            </a:pPr>
            <a:r>
              <a:rPr lang="en-US" sz="1100" kern="0" dirty="0">
                <a:solidFill>
                  <a:schemeClr val="bg1"/>
                </a:solidFill>
                <a:cs typeface="Arial"/>
              </a:rPr>
              <a:t>This is a sample text. You simply add your own text and description here. This text is fully editable. </a:t>
            </a:r>
            <a:endParaRPr lang="en-US" sz="1100" kern="0" dirty="0">
              <a:solidFill>
                <a:schemeClr val="bg1"/>
              </a:solidFill>
            </a:endParaRPr>
          </a:p>
          <a:p>
            <a:pPr>
              <a:defRPr/>
            </a:pPr>
            <a:endParaRPr lang="en-US" sz="1100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20767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73</TotalTime>
  <Words>182</Words>
  <Application>Microsoft Office PowerPoint</Application>
  <PresentationFormat>Widescreen</PresentationFormat>
  <Paragraphs>1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Yes/No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640</cp:revision>
  <dcterms:created xsi:type="dcterms:W3CDTF">2021-03-31T02:49:57Z</dcterms:created>
  <dcterms:modified xsi:type="dcterms:W3CDTF">2025-10-16T11:37:56Z</dcterms:modified>
  <cp:category/>
</cp:coreProperties>
</file>